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449" r:id="rId2"/>
    <p:sldId id="452" r:id="rId3"/>
    <p:sldId id="451" r:id="rId4"/>
    <p:sldId id="454" r:id="rId5"/>
    <p:sldId id="453" r:id="rId6"/>
  </p:sldIdLst>
  <p:sldSz cx="12192000" cy="6858000"/>
  <p:notesSz cx="6858000" cy="9144000"/>
  <p:custDataLst>
    <p:tags r:id="rId8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sfarg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532" autoAdjust="0"/>
  </p:normalViewPr>
  <p:slideViewPr>
    <p:cSldViewPr snapToGrid="0" snapToObjects="1">
      <p:cViewPr varScale="1">
        <p:scale>
          <a:sx n="93" d="100"/>
          <a:sy n="93" d="100"/>
        </p:scale>
        <p:origin x="2128" y="7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6" d="100"/>
          <a:sy n="56" d="100"/>
        </p:scale>
        <p:origin x="251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 Jerre" userId="a72094d700697810" providerId="LiveId" clId="{15E72B4C-4F47-434C-B93C-0C4C89E23A9D}"/>
    <pc:docChg chg="undo custSel modMainMaster">
      <pc:chgData name="Jon Jerre" userId="a72094d700697810" providerId="LiveId" clId="{15E72B4C-4F47-434C-B93C-0C4C89E23A9D}" dt="2025-10-21T06:21:10.927" v="126" actId="404"/>
      <pc:docMkLst>
        <pc:docMk/>
      </pc:docMkLst>
      <pc:sldMasterChg chg="addSp delSp modSp mod modSldLayout">
        <pc:chgData name="Jon Jerre" userId="a72094d700697810" providerId="LiveId" clId="{15E72B4C-4F47-434C-B93C-0C4C89E23A9D}" dt="2025-10-21T06:21:10.927" v="126" actId="404"/>
        <pc:sldMasterMkLst>
          <pc:docMk/>
          <pc:sldMasterMk cId="2997785653" sldId="2147483648"/>
        </pc:sldMasterMkLst>
        <pc:spChg chg="mod">
          <ac:chgData name="Jon Jerre" userId="a72094d700697810" providerId="LiveId" clId="{15E72B4C-4F47-434C-B93C-0C4C89E23A9D}" dt="2025-10-21T06:13:40.032" v="80" actId="404"/>
          <ac:spMkLst>
            <pc:docMk/>
            <pc:sldMasterMk cId="2997785653" sldId="2147483648"/>
            <ac:spMk id="3" creationId="{00000000-0000-0000-0000-000000000000}"/>
          </ac:spMkLst>
        </pc:spChg>
        <pc:sldLayoutChg chg="modSp mod">
          <pc:chgData name="Jon Jerre" userId="a72094d700697810" providerId="LiveId" clId="{15E72B4C-4F47-434C-B93C-0C4C89E23A9D}" dt="2025-10-21T06:19:25.253" v="87" actId="404"/>
          <pc:sldLayoutMkLst>
            <pc:docMk/>
            <pc:sldMasterMk cId="2997785653" sldId="2147483648"/>
            <pc:sldLayoutMk cId="1206902088" sldId="2147483650"/>
          </pc:sldLayoutMkLst>
          <pc:spChg chg="mod">
            <ac:chgData name="Jon Jerre" userId="a72094d700697810" providerId="LiveId" clId="{15E72B4C-4F47-434C-B93C-0C4C89E23A9D}" dt="2025-10-21T06:19:25.253" v="87" actId="404"/>
            <ac:spMkLst>
              <pc:docMk/>
              <pc:sldMasterMk cId="2997785653" sldId="2147483648"/>
              <pc:sldLayoutMk cId="1206902088" sldId="2147483650"/>
              <ac:spMk id="3" creationId="{00000000-0000-0000-0000-000000000000}"/>
            </ac:spMkLst>
          </pc:spChg>
          <pc:picChg chg="mod">
            <ac:chgData name="Jon Jerre" userId="a72094d700697810" providerId="LiveId" clId="{15E72B4C-4F47-434C-B93C-0C4C89E23A9D}" dt="2025-10-17T16:33:53.567" v="9" actId="1036"/>
            <ac:picMkLst>
              <pc:docMk/>
              <pc:sldMasterMk cId="2997785653" sldId="2147483648"/>
              <pc:sldLayoutMk cId="1206902088" sldId="2147483650"/>
              <ac:picMk id="11" creationId="{588011B4-E99C-425A-9487-126CED4B642C}"/>
            </ac:picMkLst>
          </pc:picChg>
        </pc:sldLayoutChg>
        <pc:sldLayoutChg chg="modSp mod">
          <pc:chgData name="Jon Jerre" userId="a72094d700697810" providerId="LiveId" clId="{15E72B4C-4F47-434C-B93C-0C4C89E23A9D}" dt="2025-10-21T06:20:27.972" v="106" actId="404"/>
          <pc:sldLayoutMkLst>
            <pc:docMk/>
            <pc:sldMasterMk cId="2997785653" sldId="2147483648"/>
            <pc:sldLayoutMk cId="2043839056" sldId="2147483652"/>
          </pc:sldLayoutMkLst>
          <pc:spChg chg="mod">
            <ac:chgData name="Jon Jerre" userId="a72094d700697810" providerId="LiveId" clId="{15E72B4C-4F47-434C-B93C-0C4C89E23A9D}" dt="2025-10-21T06:20:13.973" v="98" actId="404"/>
            <ac:spMkLst>
              <pc:docMk/>
              <pc:sldMasterMk cId="2997785653" sldId="2147483648"/>
              <pc:sldLayoutMk cId="2043839056" sldId="2147483652"/>
              <ac:spMk id="3" creationId="{00000000-0000-0000-0000-000000000000}"/>
            </ac:spMkLst>
          </pc:spChg>
          <pc:spChg chg="mod">
            <ac:chgData name="Jon Jerre" userId="a72094d700697810" providerId="LiveId" clId="{15E72B4C-4F47-434C-B93C-0C4C89E23A9D}" dt="2025-10-21T06:20:27.972" v="106" actId="404"/>
            <ac:spMkLst>
              <pc:docMk/>
              <pc:sldMasterMk cId="2997785653" sldId="2147483648"/>
              <pc:sldLayoutMk cId="2043839056" sldId="2147483652"/>
              <ac:spMk id="4" creationId="{00000000-0000-0000-0000-000000000000}"/>
            </ac:spMkLst>
          </pc:spChg>
          <pc:picChg chg="mod">
            <ac:chgData name="Jon Jerre" userId="a72094d700697810" providerId="LiveId" clId="{15E72B4C-4F47-434C-B93C-0C4C89E23A9D}" dt="2025-10-17T16:40:44.693" v="31" actId="1036"/>
            <ac:picMkLst>
              <pc:docMk/>
              <pc:sldMasterMk cId="2997785653" sldId="2147483648"/>
              <pc:sldLayoutMk cId="2043839056" sldId="2147483652"/>
              <ac:picMk id="9" creationId="{AF590BEB-E405-4C10-B878-0A19328D1310}"/>
            </ac:picMkLst>
          </pc:picChg>
        </pc:sldLayoutChg>
        <pc:sldLayoutChg chg="modSp mod">
          <pc:chgData name="Jon Jerre" userId="a72094d700697810" providerId="LiveId" clId="{15E72B4C-4F47-434C-B93C-0C4C89E23A9D}" dt="2025-10-21T06:21:10.927" v="126" actId="404"/>
          <pc:sldLayoutMkLst>
            <pc:docMk/>
            <pc:sldMasterMk cId="2997785653" sldId="2147483648"/>
            <pc:sldLayoutMk cId="950903427" sldId="2147483653"/>
          </pc:sldLayoutMkLst>
          <pc:spChg chg="mod">
            <ac:chgData name="Jon Jerre" userId="a72094d700697810" providerId="LiveId" clId="{15E72B4C-4F47-434C-B93C-0C4C89E23A9D}" dt="2025-10-21T06:20:55.463" v="118" actId="403"/>
            <ac:spMkLst>
              <pc:docMk/>
              <pc:sldMasterMk cId="2997785653" sldId="2147483648"/>
              <pc:sldLayoutMk cId="950903427" sldId="2147483653"/>
              <ac:spMk id="4" creationId="{00000000-0000-0000-0000-000000000000}"/>
            </ac:spMkLst>
          </pc:spChg>
          <pc:spChg chg="mod">
            <ac:chgData name="Jon Jerre" userId="a72094d700697810" providerId="LiveId" clId="{15E72B4C-4F47-434C-B93C-0C4C89E23A9D}" dt="2025-10-21T06:21:10.927" v="126" actId="404"/>
            <ac:spMkLst>
              <pc:docMk/>
              <pc:sldMasterMk cId="2997785653" sldId="2147483648"/>
              <pc:sldLayoutMk cId="950903427" sldId="2147483653"/>
              <ac:spMk id="6" creationId="{00000000-0000-0000-0000-000000000000}"/>
            </ac:spMkLst>
          </pc:spChg>
          <pc:picChg chg="mod">
            <ac:chgData name="Jon Jerre" userId="a72094d700697810" providerId="LiveId" clId="{15E72B4C-4F47-434C-B93C-0C4C89E23A9D}" dt="2025-10-17T16:41:00.477" v="51" actId="1036"/>
            <ac:picMkLst>
              <pc:docMk/>
              <pc:sldMasterMk cId="2997785653" sldId="2147483648"/>
              <pc:sldLayoutMk cId="950903427" sldId="2147483653"/>
              <ac:picMk id="11" creationId="{4E4381BB-EB7F-4D5F-9462-2A944F50E281}"/>
            </ac:picMkLst>
          </pc:picChg>
        </pc:sldLayoutChg>
        <pc:sldLayoutChg chg="modSp mod">
          <pc:chgData name="Jon Jerre" userId="a72094d700697810" providerId="LiveId" clId="{15E72B4C-4F47-434C-B93C-0C4C89E23A9D}" dt="2025-10-17T16:41:10.048" v="63" actId="1036"/>
          <pc:sldLayoutMkLst>
            <pc:docMk/>
            <pc:sldMasterMk cId="2997785653" sldId="2147483648"/>
            <pc:sldLayoutMk cId="3662037536" sldId="2147483654"/>
          </pc:sldLayoutMkLst>
          <pc:picChg chg="mod">
            <ac:chgData name="Jon Jerre" userId="a72094d700697810" providerId="LiveId" clId="{15E72B4C-4F47-434C-B93C-0C4C89E23A9D}" dt="2025-10-17T16:41:10.048" v="63" actId="1036"/>
            <ac:picMkLst>
              <pc:docMk/>
              <pc:sldMasterMk cId="2997785653" sldId="2147483648"/>
              <pc:sldLayoutMk cId="3662037536" sldId="2147483654"/>
              <ac:picMk id="6" creationId="{63ED2EA1-2DBD-4D78-BC5C-E989D7045971}"/>
            </ac:picMkLst>
          </pc:picChg>
        </pc:sldLayoutChg>
        <pc:sldLayoutChg chg="modSp mod">
          <pc:chgData name="Jon Jerre" userId="a72094d700697810" providerId="LiveId" clId="{15E72B4C-4F47-434C-B93C-0C4C89E23A9D}" dt="2025-10-17T16:41:17.831" v="73" actId="1036"/>
          <pc:sldLayoutMkLst>
            <pc:docMk/>
            <pc:sldMasterMk cId="2997785653" sldId="2147483648"/>
            <pc:sldLayoutMk cId="3633564877" sldId="2147483656"/>
          </pc:sldLayoutMkLst>
          <pc:picChg chg="mod">
            <ac:chgData name="Jon Jerre" userId="a72094d700697810" providerId="LiveId" clId="{15E72B4C-4F47-434C-B93C-0C4C89E23A9D}" dt="2025-10-17T16:41:17.831" v="73" actId="1036"/>
            <ac:picMkLst>
              <pc:docMk/>
              <pc:sldMasterMk cId="2997785653" sldId="2147483648"/>
              <pc:sldLayoutMk cId="3633564877" sldId="2147483656"/>
              <ac:picMk id="8" creationId="{53139575-B2C4-4B5D-B5F5-8885D606FF34}"/>
            </ac:picMkLst>
          </pc:picChg>
        </pc:sldLayoutChg>
        <pc:sldLayoutChg chg="modSp mod">
          <pc:chgData name="Jon Jerre" userId="a72094d700697810" providerId="LiveId" clId="{15E72B4C-4F47-434C-B93C-0C4C89E23A9D}" dt="2025-10-17T16:34:05.122" v="19" actId="1036"/>
          <pc:sldLayoutMkLst>
            <pc:docMk/>
            <pc:sldMasterMk cId="2997785653" sldId="2147483648"/>
            <pc:sldLayoutMk cId="2471184537" sldId="2147483662"/>
          </pc:sldLayoutMkLst>
        </pc:sldLayoutChg>
        <pc:sldLayoutChg chg="modSp mod">
          <pc:chgData name="Jon Jerre" userId="a72094d700697810" providerId="LiveId" clId="{15E72B4C-4F47-434C-B93C-0C4C89E23A9D}" dt="2025-10-17T16:40:52.911" v="41" actId="1036"/>
          <pc:sldLayoutMkLst>
            <pc:docMk/>
            <pc:sldMasterMk cId="2997785653" sldId="2147483648"/>
            <pc:sldLayoutMk cId="4278241306" sldId="2147483663"/>
          </pc:sldLayoutMkLst>
        </pc:sldLayoutChg>
      </pc:sldMasterChg>
    </pc:docChg>
  </pc:docChgLst>
  <pc:docChgLst>
    <pc:chgData name="Jon Jerre" userId="a72094d700697810" providerId="LiveId" clId="{386FCA97-8D6B-43D1-B869-ED9AF93DCD99}"/>
    <pc:docChg chg="custSel addSld delSld modSld modMainMaster">
      <pc:chgData name="Jon Jerre" userId="a72094d700697810" providerId="LiveId" clId="{386FCA97-8D6B-43D1-B869-ED9AF93DCD99}" dt="2019-06-21T06:01:54.983" v="477" actId="2696"/>
      <pc:docMkLst>
        <pc:docMk/>
      </pc:docMkLst>
      <pc:sldChg chg="modSp">
        <pc:chgData name="Jon Jerre" userId="a72094d700697810" providerId="LiveId" clId="{386FCA97-8D6B-43D1-B869-ED9AF93DCD99}" dt="2019-06-21T06:01:29.186" v="475" actId="6549"/>
        <pc:sldMkLst>
          <pc:docMk/>
          <pc:sldMk cId="841451618" sldId="451"/>
        </pc:sldMkLst>
      </pc:sldChg>
      <pc:sldChg chg="add del">
        <pc:chgData name="Jon Jerre" userId="a72094d700697810" providerId="LiveId" clId="{386FCA97-8D6B-43D1-B869-ED9AF93DCD99}" dt="2019-06-21T06:00:27.635" v="421" actId="2696"/>
        <pc:sldMkLst>
          <pc:docMk/>
          <pc:sldMk cId="3075797777" sldId="454"/>
        </pc:sldMkLst>
      </pc:sldChg>
      <pc:sldChg chg="addSp delSp modSp add">
        <pc:chgData name="Jon Jerre" userId="a72094d700697810" providerId="LiveId" clId="{386FCA97-8D6B-43D1-B869-ED9AF93DCD99}" dt="2019-06-21T06:01:22.742" v="467" actId="20577"/>
        <pc:sldMkLst>
          <pc:docMk/>
          <pc:sldMk cId="3975731921" sldId="454"/>
        </pc:sldMkLst>
      </pc:sldChg>
      <pc:sldChg chg="add del">
        <pc:chgData name="Jon Jerre" userId="a72094d700697810" providerId="LiveId" clId="{386FCA97-8D6B-43D1-B869-ED9AF93DCD99}" dt="2019-06-21T06:01:54.983" v="477" actId="2696"/>
        <pc:sldMkLst>
          <pc:docMk/>
          <pc:sldMk cId="562014651" sldId="455"/>
        </pc:sldMkLst>
      </pc:sldChg>
      <pc:sldMasterChg chg="addSp delSp modSp delSldLayout modSldLayout">
        <pc:chgData name="Jon Jerre" userId="a72094d700697810" providerId="LiveId" clId="{386FCA97-8D6B-43D1-B869-ED9AF93DCD99}" dt="2019-06-21T05:59:55.526" v="419"/>
        <pc:sldMasterMkLst>
          <pc:docMk/>
          <pc:sldMasterMk cId="2997785653" sldId="2147483648"/>
        </pc:sldMasterMkLst>
        <pc:sldLayoutChg chg="addSp delSp modSp">
          <pc:chgData name="Jon Jerre" userId="a72094d700697810" providerId="LiveId" clId="{386FCA97-8D6B-43D1-B869-ED9AF93DCD99}" dt="2019-06-21T05:56:33.399" v="151" actId="20577"/>
          <pc:sldLayoutMkLst>
            <pc:docMk/>
            <pc:sldMasterMk cId="2997785653" sldId="2147483648"/>
            <pc:sldLayoutMk cId="1259413274" sldId="2147483649"/>
          </pc:sldLayoutMkLst>
        </pc:sldLayoutChg>
        <pc:sldLayoutChg chg="addSp delSp modSp">
          <pc:chgData name="Jon Jerre" userId="a72094d700697810" providerId="LiveId" clId="{386FCA97-8D6B-43D1-B869-ED9AF93DCD99}" dt="2019-06-21T05:56:54.174" v="161"/>
          <pc:sldLayoutMkLst>
            <pc:docMk/>
            <pc:sldMasterMk cId="2997785653" sldId="2147483648"/>
            <pc:sldLayoutMk cId="1206902088" sldId="2147483650"/>
          </pc:sldLayoutMkLst>
        </pc:sldLayoutChg>
        <pc:sldLayoutChg chg="modSp">
          <pc:chgData name="Jon Jerre" userId="a72094d700697810" providerId="LiveId" clId="{386FCA97-8D6B-43D1-B869-ED9AF93DCD99}" dt="2019-06-21T05:57:20.504" v="199" actId="20577"/>
          <pc:sldLayoutMkLst>
            <pc:docMk/>
            <pc:sldMasterMk cId="2997785653" sldId="2147483648"/>
            <pc:sldLayoutMk cId="1041291009" sldId="2147483651"/>
          </pc:sldLayoutMkLst>
        </pc:sldLayoutChg>
        <pc:sldLayoutChg chg="addSp delSp modSp">
          <pc:chgData name="Jon Jerre" userId="a72094d700697810" providerId="LiveId" clId="{386FCA97-8D6B-43D1-B869-ED9AF93DCD99}" dt="2019-06-21T05:57:31.428" v="227" actId="20577"/>
          <pc:sldLayoutMkLst>
            <pc:docMk/>
            <pc:sldMasterMk cId="2997785653" sldId="2147483648"/>
            <pc:sldLayoutMk cId="2043839056" sldId="2147483652"/>
          </pc:sldLayoutMkLst>
        </pc:sldLayoutChg>
        <pc:sldLayoutChg chg="addSp delSp modSp">
          <pc:chgData name="Jon Jerre" userId="a72094d700697810" providerId="LiveId" clId="{386FCA97-8D6B-43D1-B869-ED9AF93DCD99}" dt="2019-06-21T05:57:53.813" v="280" actId="6549"/>
          <pc:sldLayoutMkLst>
            <pc:docMk/>
            <pc:sldMasterMk cId="2997785653" sldId="2147483648"/>
            <pc:sldLayoutMk cId="950903427" sldId="2147483653"/>
          </pc:sldLayoutMkLst>
        </pc:sldLayoutChg>
        <pc:sldLayoutChg chg="addSp modSp">
          <pc:chgData name="Jon Jerre" userId="a72094d700697810" providerId="LiveId" clId="{386FCA97-8D6B-43D1-B869-ED9AF93DCD99}" dt="2019-06-21T05:59:55.526" v="419"/>
          <pc:sldLayoutMkLst>
            <pc:docMk/>
            <pc:sldMasterMk cId="2997785653" sldId="2147483648"/>
            <pc:sldLayoutMk cId="3662037536" sldId="2147483654"/>
          </pc:sldLayoutMkLst>
        </pc:sldLayoutChg>
        <pc:sldLayoutChg chg="modSp">
          <pc:chgData name="Jon Jerre" userId="a72094d700697810" providerId="LiveId" clId="{386FCA97-8D6B-43D1-B869-ED9AF93DCD99}" dt="2019-06-21T05:58:18.543" v="360" actId="20577"/>
          <pc:sldLayoutMkLst>
            <pc:docMk/>
            <pc:sldMasterMk cId="2997785653" sldId="2147483648"/>
            <pc:sldLayoutMk cId="3076113692" sldId="2147483655"/>
          </pc:sldLayoutMkLst>
        </pc:sldLayoutChg>
        <pc:sldLayoutChg chg="addSp modSp">
          <pc:chgData name="Jon Jerre" userId="a72094d700697810" providerId="LiveId" clId="{386FCA97-8D6B-43D1-B869-ED9AF93DCD99}" dt="2019-06-21T05:58:32.408" v="386"/>
          <pc:sldLayoutMkLst>
            <pc:docMk/>
            <pc:sldMasterMk cId="2997785653" sldId="2147483648"/>
            <pc:sldLayoutMk cId="3633564877" sldId="2147483656"/>
          </pc:sldLayoutMkLst>
        </pc:sldLayoutChg>
        <pc:sldLayoutChg chg="modSp">
          <pc:chgData name="Jon Jerre" userId="a72094d700697810" providerId="LiveId" clId="{386FCA97-8D6B-43D1-B869-ED9AF93DCD99}" dt="2019-06-21T05:58:44.735" v="414" actId="20577"/>
          <pc:sldLayoutMkLst>
            <pc:docMk/>
            <pc:sldMasterMk cId="2997785653" sldId="2147483648"/>
            <pc:sldLayoutMk cId="939366367" sldId="2147483657"/>
          </pc:sldLayoutMkLst>
        </pc:sldLayoutChg>
        <pc:sldLayoutChg chg="del">
          <pc:chgData name="Jon Jerre" userId="a72094d700697810" providerId="LiveId" clId="{386FCA97-8D6B-43D1-B869-ED9AF93DCD99}" dt="2019-06-21T05:59:29.408" v="416" actId="2696"/>
          <pc:sldLayoutMkLst>
            <pc:docMk/>
            <pc:sldMasterMk cId="2997785653" sldId="2147483648"/>
            <pc:sldLayoutMk cId="901155213" sldId="2147483658"/>
          </pc:sldLayoutMkLst>
        </pc:sldLayoutChg>
        <pc:sldLayoutChg chg="del">
          <pc:chgData name="Jon Jerre" userId="a72094d700697810" providerId="LiveId" clId="{386FCA97-8D6B-43D1-B869-ED9AF93DCD99}" dt="2019-06-21T05:59:31.622" v="417" actId="2696"/>
          <pc:sldLayoutMkLst>
            <pc:docMk/>
            <pc:sldMasterMk cId="2997785653" sldId="2147483648"/>
            <pc:sldLayoutMk cId="3642234564" sldId="2147483659"/>
          </pc:sldLayoutMkLst>
        </pc:sldLayoutChg>
        <pc:sldLayoutChg chg="addSp modSp">
          <pc:chgData name="Jon Jerre" userId="a72094d700697810" providerId="LiveId" clId="{386FCA97-8D6B-43D1-B869-ED9AF93DCD99}" dt="2019-06-21T05:57:10.374" v="173" actId="20577"/>
          <pc:sldLayoutMkLst>
            <pc:docMk/>
            <pc:sldMasterMk cId="2997785653" sldId="2147483648"/>
            <pc:sldLayoutMk cId="2471184537" sldId="2147483662"/>
          </pc:sldLayoutMkLst>
        </pc:sldLayoutChg>
        <pc:sldLayoutChg chg="addSp modSp">
          <pc:chgData name="Jon Jerre" userId="a72094d700697810" providerId="LiveId" clId="{386FCA97-8D6B-43D1-B869-ED9AF93DCD99}" dt="2019-06-21T05:57:45.071" v="252"/>
          <pc:sldLayoutMkLst>
            <pc:docMk/>
            <pc:sldMasterMk cId="2997785653" sldId="2147483648"/>
            <pc:sldLayoutMk cId="4278241306" sldId="2147483663"/>
          </pc:sldLayoutMkLst>
        </pc:sldLayoutChg>
        <pc:sldLayoutChg chg="addSp delSp modSp del">
          <pc:chgData name="Jon Jerre" userId="a72094d700697810" providerId="LiveId" clId="{386FCA97-8D6B-43D1-B869-ED9AF93DCD99}" dt="2019-06-21T05:59:52" v="418" actId="2696"/>
          <pc:sldLayoutMkLst>
            <pc:docMk/>
            <pc:sldMasterMk cId="2997785653" sldId="2147483648"/>
            <pc:sldLayoutMk cId="1952021091" sldId="2147483664"/>
          </pc:sldLayoutMkLst>
        </pc:sldLayoutChg>
        <pc:sldLayoutChg chg="modSp">
          <pc:chgData name="Jon Jerre" userId="a72094d700697810" providerId="LiveId" clId="{386FCA97-8D6B-43D1-B869-ED9AF93DCD99}" dt="2019-06-21T05:56:40.485" v="152" actId="6549"/>
          <pc:sldLayoutMkLst>
            <pc:docMk/>
            <pc:sldMasterMk cId="2997785653" sldId="2147483648"/>
            <pc:sldLayoutMk cId="947223988" sldId="2147483665"/>
          </pc:sldLayoutMkLst>
        </pc:sldLayoutChg>
      </pc:sldMasterChg>
      <pc:sldMasterChg chg="addSp modSp">
        <pc:chgData name="Jon Jerre" userId="a72094d700697810" providerId="LiveId" clId="{386FCA97-8D6B-43D1-B869-ED9AF93DCD99}" dt="2019-06-21T05:59:19.291" v="415"/>
        <pc:sldMasterMkLst>
          <pc:docMk/>
          <pc:sldMasterMk cId="3307352416" sldId="2147483666"/>
        </pc:sldMasterMkLst>
      </pc:sldMasterChg>
    </pc:docChg>
  </pc:docChgLst>
  <pc:docChgLst>
    <pc:chgData name="Jon Jerre" userId="a72094d700697810" providerId="LiveId" clId="{DCDD0D17-52EB-4ED4-B0CA-09B1ECD416A0}"/>
    <pc:docChg chg="modMainMaster">
      <pc:chgData name="Jon Jerre" userId="a72094d700697810" providerId="LiveId" clId="{DCDD0D17-52EB-4ED4-B0CA-09B1ECD416A0}" dt="2021-11-17T19:00:49.340" v="0" actId="14100"/>
      <pc:docMkLst>
        <pc:docMk/>
      </pc:docMkLst>
      <pc:sldMasterChg chg="modSp mod">
        <pc:chgData name="Jon Jerre" userId="a72094d700697810" providerId="LiveId" clId="{DCDD0D17-52EB-4ED4-B0CA-09B1ECD416A0}" dt="2021-11-17T19:00:49.340" v="0" actId="14100"/>
        <pc:sldMasterMkLst>
          <pc:docMk/>
          <pc:sldMasterMk cId="2997785653" sldId="2147483648"/>
        </pc:sldMasterMkLst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E25BEE-393D-41AA-8A3E-20AADAFA665B}" type="datetimeFigureOut">
              <a:rPr lang="nb-NO" smtClean="0"/>
              <a:t>21.10.2025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69D709-14A3-484A-8EB8-1F2605AD354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85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9D709-14A3-484A-8EB8-1F2605AD354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517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340126-B097-48B4-A4B6-EBBC2701BF1A}" type="datetime1">
              <a:rPr lang="nb-NO" smtClean="0"/>
              <a:t>21.10.2025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096BC15B-8457-426F-BC05-0B1436DDBB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01037" y="371112"/>
            <a:ext cx="1957244" cy="2139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413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340126-B097-48B4-A4B6-EBBC2701BF1A}" type="datetime1">
              <a:rPr lang="nb-NO" smtClean="0"/>
              <a:t>21.10.202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7223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0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900" indent="-34290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2000" baseline="0"/>
            </a:lvl1pPr>
            <a:lvl2pPr>
              <a:spcBef>
                <a:spcPts val="900"/>
              </a:spcBef>
              <a:defRPr sz="1800"/>
            </a:lvl2pPr>
            <a:lvl3pPr>
              <a:spcBef>
                <a:spcPts val="900"/>
              </a:spcBef>
              <a:defRPr sz="1600"/>
            </a:lvl3pPr>
            <a:lvl4pPr>
              <a:spcBef>
                <a:spcPts val="900"/>
              </a:spcBef>
              <a:defRPr sz="1400"/>
            </a:lvl4pPr>
            <a:lvl5pPr>
              <a:spcBef>
                <a:spcPts val="900"/>
              </a:spcBef>
              <a:defRPr sz="1200"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5F87CF-072E-43EE-A7D9-E1468C1A8316}" type="datetime1">
              <a:rPr lang="nb-NO" smtClean="0"/>
              <a:t>21.10.2025</a:t>
            </a:fld>
            <a:endParaRPr lang="nb-NO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588011B4-E99C-425A-9487-126CED4B64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7752" y="123153"/>
            <a:ext cx="875895" cy="957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902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0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058334"/>
            <a:ext cx="5384800" cy="5067830"/>
          </a:xfrm>
        </p:spPr>
        <p:txBody>
          <a:bodyPr>
            <a:normAutofit/>
          </a:bodyPr>
          <a:lstStyle>
            <a:lvl1pPr marL="342900" indent="-342900">
              <a:spcBef>
                <a:spcPts val="1200"/>
              </a:spcBef>
              <a:buFont typeface="Wingdings" panose="05000000000000000000" pitchFamily="2" charset="2"/>
              <a:buChar char="§"/>
              <a:defRPr sz="2000"/>
            </a:lvl1pPr>
            <a:lvl2pPr>
              <a:spcBef>
                <a:spcPts val="900"/>
              </a:spcBef>
              <a:defRPr sz="1800"/>
            </a:lvl2pPr>
            <a:lvl3pPr>
              <a:spcBef>
                <a:spcPts val="900"/>
              </a:spcBef>
              <a:defRPr sz="1600"/>
            </a:lvl3pPr>
            <a:lvl4pPr>
              <a:spcBef>
                <a:spcPts val="900"/>
              </a:spcBef>
              <a:defRPr sz="1400"/>
            </a:lvl4pPr>
            <a:lvl5pPr>
              <a:spcBef>
                <a:spcPts val="9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058334"/>
            <a:ext cx="5384800" cy="5067830"/>
          </a:xfrm>
        </p:spPr>
        <p:txBody>
          <a:bodyPr>
            <a:normAutofit/>
          </a:bodyPr>
          <a:lstStyle>
            <a:lvl1pPr marL="342900" indent="-342900">
              <a:spcBef>
                <a:spcPts val="1200"/>
              </a:spcBef>
              <a:buFont typeface="Wingdings" panose="05000000000000000000" pitchFamily="2" charset="2"/>
              <a:buChar char="§"/>
              <a:defRPr sz="2000"/>
            </a:lvl1pPr>
            <a:lvl2pPr>
              <a:spcBef>
                <a:spcPts val="900"/>
              </a:spcBef>
              <a:defRPr sz="1800"/>
            </a:lvl2pPr>
            <a:lvl3pPr>
              <a:spcBef>
                <a:spcPts val="900"/>
              </a:spcBef>
              <a:defRPr sz="1400"/>
            </a:lvl3pPr>
            <a:lvl4pPr>
              <a:spcBef>
                <a:spcPts val="900"/>
              </a:spcBef>
              <a:defRPr sz="1400"/>
            </a:lvl4pPr>
            <a:lvl5pPr>
              <a:spcBef>
                <a:spcPts val="9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1F256-9EA7-4FB0-B5C6-88B318406157}" type="datetime1">
              <a:rPr lang="nb-NO" smtClean="0"/>
              <a:t>21.10.202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AF590BEB-E405-4C10-B878-0A19328D13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7752" y="123153"/>
            <a:ext cx="875895" cy="957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8390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110113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1854559"/>
            <a:ext cx="5386917" cy="427160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68" y="1110113"/>
            <a:ext cx="5389033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68" y="1854559"/>
            <a:ext cx="5389033" cy="427160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2156A-F56D-40E7-91B7-9A971FFF046B}" type="datetime1">
              <a:rPr lang="nb-NO" smtClean="0"/>
              <a:t>21.10.2025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E4381BB-EB7F-4D5F-9462-2A944F50E2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7752" y="123153"/>
            <a:ext cx="875895" cy="957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903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0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5151-5255-4C84-964F-1D12EA30B857}" type="datetime1">
              <a:rPr lang="nb-NO" smtClean="0"/>
              <a:t>21.10.202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63ED2EA1-2DBD-4D78-BC5C-E989D70459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7752" y="123153"/>
            <a:ext cx="875895" cy="957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037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F7F01-0F27-44B5-A0E0-1F0CF0B655EB}" type="datetime1">
              <a:rPr lang="nb-NO" smtClean="0"/>
              <a:t>21.10.2025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6113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>
            <a:normAutofit/>
          </a:bodyPr>
          <a:lstStyle>
            <a:lvl1pPr rtl="0"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ADAD25-EFC9-47BB-8783-4721F87242A8}" type="datetime1">
              <a:rPr lang="nb-NO" smtClean="0"/>
              <a:t>21.10.202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3139575-B2C4-4B5D-B5F5-8885D606FF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7752" y="123153"/>
            <a:ext cx="875895" cy="957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5648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335C68-509F-4F0F-BB75-99BDB4CCD403}" type="datetime1">
              <a:rPr lang="nb-NO" smtClean="0"/>
              <a:t>21.10.202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93663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292301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6402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410056"/>
            <a:ext cx="10972800" cy="47161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D2212D-362B-4222-9B28-3AB6BD1D4FB2}" type="datetime1">
              <a:rPr lang="nb-NO" smtClean="0"/>
              <a:t>21.10.202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7785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0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ts val="12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9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9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9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9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ctrTitle" idx="4294967295"/>
          </p:nvPr>
        </p:nvSpPr>
        <p:spPr>
          <a:xfrm>
            <a:off x="914400" y="2562226"/>
            <a:ext cx="10363200" cy="1038225"/>
          </a:xfrm>
        </p:spPr>
        <p:txBody>
          <a:bodyPr/>
          <a:lstStyle/>
          <a:p>
            <a:r>
              <a:rPr lang="nb-NO" dirty="0"/>
              <a:t>Lysarkpresentasjon</a:t>
            </a:r>
          </a:p>
        </p:txBody>
      </p:sp>
      <p:sp>
        <p:nvSpPr>
          <p:cNvPr id="6" name="Undertit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Dette er en mal for presentasjon i NBSK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7053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den inneholder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Presentasjonen inneholder lysbilder med logo, og lysbilder uten logo</a:t>
            </a:r>
          </a:p>
          <a:p>
            <a:r>
              <a:rPr lang="nb-NO" dirty="0"/>
              <a:t>Du bestemmer selv ved å velge oppsett</a:t>
            </a:r>
          </a:p>
          <a:p>
            <a:r>
              <a:rPr lang="nb-NO" dirty="0"/>
              <a:t>Bruk innrykk for å få underpunkter</a:t>
            </a:r>
          </a:p>
          <a:p>
            <a:pPr lvl="1"/>
            <a:r>
              <a:rPr lang="nb-NO" dirty="0"/>
              <a:t>Første undernivå</a:t>
            </a:r>
          </a:p>
          <a:p>
            <a:pPr lvl="2"/>
            <a:r>
              <a:rPr lang="nb-NO" dirty="0"/>
              <a:t>Andre undernivå</a:t>
            </a:r>
          </a:p>
          <a:p>
            <a:pPr lvl="3"/>
            <a:r>
              <a:rPr lang="nb-NO" dirty="0"/>
              <a:t>Tredje undernivå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42912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ysark med to felt for tekst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nb-NO" dirty="0"/>
              <a:t>Her finner det første feltet</a:t>
            </a:r>
          </a:p>
          <a:p>
            <a:pPr lvl="1"/>
            <a:r>
              <a:rPr lang="nb-NO" dirty="0"/>
              <a:t>Med undernivå</a:t>
            </a:r>
          </a:p>
        </p:txBody>
      </p:sp>
      <p:sp>
        <p:nvSpPr>
          <p:cNvPr id="7" name="Plassholder for innhold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b-NO" dirty="0"/>
              <a:t>Her er det andre feltet</a:t>
            </a:r>
          </a:p>
          <a:p>
            <a:pPr lvl="1"/>
            <a:r>
              <a:rPr lang="nb-NO" dirty="0"/>
              <a:t>Med undernivå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1451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FAB06104-EA77-4D3A-B5F4-6BC5D6F75D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ysark uten tekstfelt under, for bilder etc.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81F93D6F-977D-4293-A2A1-92D6DED0F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57319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er er den godkjente logoen 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5</a:t>
            </a:fld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8145" y="2007939"/>
            <a:ext cx="3324260" cy="363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203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13</TotalTime>
  <Words>81</Words>
  <Application>Microsoft Office PowerPoint</Application>
  <PresentationFormat>Widescreen</PresentationFormat>
  <Paragraphs>22</Paragraphs>
  <Slides>5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</vt:i4>
      </vt:variant>
    </vt:vector>
  </HeadingPairs>
  <TitlesOfParts>
    <vt:vector size="11" baseType="lpstr">
      <vt:lpstr>Arial</vt:lpstr>
      <vt:lpstr>Calibri</vt:lpstr>
      <vt:lpstr>Verdana</vt:lpstr>
      <vt:lpstr>Wingdings</vt:lpstr>
      <vt:lpstr>Office-tema</vt:lpstr>
      <vt:lpstr>think-cell Slide</vt:lpstr>
      <vt:lpstr>Lysarkpresentasjon</vt:lpstr>
      <vt:lpstr>Hva den inneholder</vt:lpstr>
      <vt:lpstr>Lysark med to felt for tekst</vt:lpstr>
      <vt:lpstr>Lysark uten tekstfelt under, for bilder etc.</vt:lpstr>
      <vt:lpstr>Her er den godkjente logoe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Jon Jerre</dc:creator>
  <cp:lastModifiedBy>Jon Jerre</cp:lastModifiedBy>
  <cp:revision>350</cp:revision>
  <dcterms:created xsi:type="dcterms:W3CDTF">2014-02-02T18:04:10Z</dcterms:created>
  <dcterms:modified xsi:type="dcterms:W3CDTF">2025-10-21T06:21:19Z</dcterms:modified>
</cp:coreProperties>
</file>